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3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11725038068305E-2"/>
          <c:y val="2.5267249757045675E-2"/>
          <c:w val="0.97737654992386336"/>
          <c:h val="0.9494655004859086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E$1</c:f>
              <c:numCache>
                <c:formatCode>General</c:formatCode>
                <c:ptCount val="5"/>
                <c:pt idx="0">
                  <c:v>6528.5797839999996</c:v>
                </c:pt>
                <c:pt idx="1">
                  <c:v>14570.187377</c:v>
                </c:pt>
                <c:pt idx="2">
                  <c:v>23611.794969999999</c:v>
                </c:pt>
                <c:pt idx="3">
                  <c:v>30653.402563</c:v>
                </c:pt>
                <c:pt idx="4">
                  <c:v>33695.010155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A9-4A23-9D80-DADCF5ABC512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val>
            <c:numRef>
              <c:f>Sheet1!$A$2:$E$2</c:f>
              <c:numCache>
                <c:formatCode>General</c:formatCode>
                <c:ptCount val="5"/>
                <c:pt idx="0">
                  <c:v>10415.746495000001</c:v>
                </c:pt>
                <c:pt idx="1">
                  <c:v>11618.016970999999</c:v>
                </c:pt>
                <c:pt idx="2">
                  <c:v>12820.287446999999</c:v>
                </c:pt>
                <c:pt idx="3">
                  <c:v>13022.557922999997</c:v>
                </c:pt>
                <c:pt idx="4">
                  <c:v>14224.828398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A9-4A23-9D80-DADCF5ABC512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val>
            <c:numRef>
              <c:f>Sheet1!$A$3:$E$3</c:f>
              <c:numCache>
                <c:formatCode>General</c:formatCode>
                <c:ptCount val="5"/>
                <c:pt idx="0">
                  <c:v>10300.188625999999</c:v>
                </c:pt>
                <c:pt idx="1">
                  <c:v>13254.944547999999</c:v>
                </c:pt>
                <c:pt idx="2">
                  <c:v>16209.700469999996</c:v>
                </c:pt>
                <c:pt idx="3">
                  <c:v>19164.456392</c:v>
                </c:pt>
                <c:pt idx="4">
                  <c:v>22119.212314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A9-4A23-9D80-DADCF5ABC512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val>
            <c:numRef>
              <c:f>Sheet1!$A$4:$E$4</c:f>
              <c:numCache>
                <c:formatCode>General</c:formatCode>
                <c:ptCount val="5"/>
                <c:pt idx="0">
                  <c:v>4683.8126339999981</c:v>
                </c:pt>
                <c:pt idx="1">
                  <c:v>5622.2479820000008</c:v>
                </c:pt>
                <c:pt idx="2">
                  <c:v>6560.6833299999998</c:v>
                </c:pt>
                <c:pt idx="3">
                  <c:v>7499.1186780000062</c:v>
                </c:pt>
                <c:pt idx="4">
                  <c:v>8437.55402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8A9-4A23-9D80-DADCF5ABC5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7358752"/>
        <c:axId val="1"/>
      </c:areaChart>
      <c:catAx>
        <c:axId val="327358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7358752"/>
        <c:crosses val="min"/>
        <c:crossBetween val="midCat"/>
        <c:majorUnit val="10000"/>
      </c:valAx>
    </c:plotArea>
    <c:plotVisOnly val="0"/>
    <c:dispBlanksAs val="zero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D5B368-942A-402A-A46F-28DA57205B9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EDCA3-809C-4435-BA85-BDAF44C8C3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3384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313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85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12291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699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3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4649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54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33856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notesSlide" Target="../notesSlides/notesSlide1.xml"/><Relationship Id="rId50" Type="http://schemas.openxmlformats.org/officeDocument/2006/relationships/chart" Target="../charts/chart1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image" Target="../media/image4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oleObject" Target="../embeddings/oleObject5.bin"/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slideLayout" Target="../slideLayouts/slideLayout5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8" imgW="349" imgH="350" progId="TCLayout.ActiveDocument.1">
                  <p:embed/>
                </p:oleObj>
              </mc:Choice>
              <mc:Fallback>
                <p:oleObj name="think-cell 幻灯片" r:id="rId4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395E4D98-231B-409F-97C1-1D6E3B06F8BC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688975" y="2239963"/>
          <a:ext cx="7297738" cy="326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04813" y="4930775"/>
            <a:ext cx="190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08E4890-261A-41DA-BFFA-990EBC480216}" type="datetime'''''''''''''''''1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68300" y="4543425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D97700-8CE7-43D0-82A0-693C4CB2EF2C}" type="datetime'''''''2''''''''''''''''0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69888" y="4154488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FF48397-72ED-4378-80D5-EBA3EDED07D3}" type="datetime'''''''''3''''''''''''''''0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365125" y="3767138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D14FCDA-B734-43CF-8276-235014E51E42}" type="datetime'''''''''''''''''''''''''4''''''''''''''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66713" y="3379788"/>
            <a:ext cx="228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709DDC-470A-414A-8F87-DD08902BD709}" type="datetime'''''''''''''''''5''''''''''''''''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68300" y="2992438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B0171C-7896-4EAC-B38F-C3AAA7484A67}" type="datetime'''''6''''''0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82588" y="2603500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92F68C-EF27-4CAE-A72D-F35EA4E6F167}" type="datetime'''''''''''''''''''''7''''''0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65125" y="2216150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2334E0-F4D6-4A62-B93F-7449F30C9100}" type="datetime'''''''''''''''''''''''''''''''''''''''''''''''8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479424" y="5334000"/>
            <a:ext cx="115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3620BAD-973A-45D7-8725-D2BDA486B0C6}" type="datetime'''''''''0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815976" y="4181475"/>
            <a:ext cx="238125" cy="19208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4308945-5DCC-4B19-9A21-A2CCB5D36E64}" type="datetime'''''''''''''''''''''''''''''''''''''''''1''5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15975" y="44719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DBC125-AD5D-4862-9EA8-6A6A2C60679E}" type="datetime'''''''''''''''''''''''''32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815975" y="4873625"/>
            <a:ext cx="269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70B9F3-9C4A-46AD-B7EA-188AEDC83101}" type="datetime'''''''''''''''''''''''''3''''''''''''3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815975" y="5202238"/>
            <a:ext cx="27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1A0375-F985-4850-B142-4A9A303873BE}" type="datetime'2''0''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079D87B7-1F22-09EB-53EE-D3FF3563828F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57213" y="5483225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D6E35BC-74E4-4A8C-AAAD-4168AC52F5DE}" type="datetime'''''''''''''20''''''1''''8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2436813" y="3690938"/>
            <a:ext cx="236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8D191C-BE35-4521-BEB1-BC567E0EF61D}" type="datetime'''''1''''''''''''''''''''''''''2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417763" y="4056063"/>
            <a:ext cx="273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5C31FF-66B4-4DBB-A661-44636C5C17FF}" type="datetime'''''2''9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417763" y="4538663"/>
            <a:ext cx="273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69A75BD-C074-4B6F-ADA3-6824A74690BC}" type="datetime'''''''''2''''''''''''''''''''''''''''''''''''''6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76455FB2-D5D8-1BE9-FAF7-F673EE68E0C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324100" y="5483225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53C2F5-3345-47F3-9899-3B7E5D4A2802}" type="datetime'''''2''0''''''''''''2''''''''''''''''2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238626" y="3160713"/>
            <a:ext cx="200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EAC5835-D68A-4315-A854-04978BA45594}" type="datetime'1''''''''''1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210050" y="3602038"/>
            <a:ext cx="258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EAB18D1-AEF7-47FB-B7BD-02FE8CB62FEE}" type="datetime'''2''''''''''''''''''''''''''''''''''''''''''''''7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202113" y="4165600"/>
            <a:ext cx="273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6D7DA26-35C8-450E-A3B5-808DBEC094CF}" type="datetime'''''''''''''''''''''''''''''2''''''2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198938" y="4872038"/>
            <a:ext cx="280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EBF10D-B0B8-4327-8657-9D4FB42880F5}" type="datetime'''''''''''''''''''''''4''''0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4B1776D-4FC7-5BDA-99CE-4FBFC05A83F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4051300" y="5483225"/>
            <a:ext cx="5746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C30ACD-938C-4A26-90E6-B94A6A820310}" type="datetime'2''''''0''''''''''''''''''3''''''''''''0''''''''''''F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F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021389" y="2747963"/>
            <a:ext cx="200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12A080-8C16-4035-90C0-FE1DF14A4564}" type="datetime'''''''''1''''''''''''''''''''''''''''''''''''''''1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5992813" y="3263900"/>
            <a:ext cx="258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6084FEA-EAA9-4459-BEBD-BCED4F10550A}" type="datetime'''''''''''''''''''''''''''''''''''''''''''''''2''7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6003925" y="3887788"/>
            <a:ext cx="236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9F7B71F-1B04-4596-93A8-8D897D9924FA}" type="datetime'''''''''''''''''''''''''''''1''''''''''''''''''''''9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981700" y="4735513"/>
            <a:ext cx="279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15E8F9-C5E3-4525-84D9-811A9A2F695C}" type="datetime'4''''''''''''''''4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Rectangle 22">
            <a:extLst>
              <a:ext uri="{FF2B5EF4-FFF2-40B4-BE49-F238E27FC236}">
                <a16:creationId xmlns:a16="http://schemas.microsoft.com/office/drawing/2014/main" id="{F7D4B52F-5AC9-1867-5133-E8DCDAE21EA3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835650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89A391-7943-4D1D-8F73-53EDCDBBD1FC}" type="datetime'''''''''2''03''''''4''''''''''''''''''''''''''''F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4F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7659689" y="2449513"/>
            <a:ext cx="200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5611F4D-CCBE-4DE2-B634-065288201D79}" type="datetime'''''''''1''''''''''''''1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7583488" y="3041650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CBD2C23-E8C4-4AD8-88CA-ED4B2E497828}" type="datetime'''''''''''''2''''''''''''''''''''''''''''''8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7620001" y="3746500"/>
            <a:ext cx="239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DC78FC-5DF9-453B-B717-1DA01FBD01B9}" type="datetime'''''''''1''''''''''''''''''''''''''''8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7585075" y="4675188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D4A7DA7-ABEF-4545-B4AA-A0D93B25551E}" type="datetime'''4''3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B8A9E084-4FCE-64CD-752A-0079DADA14D2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7618413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2F1020-7F4C-4DE4-8E51-52BC18AC2491}" type="datetime'''2''''''''''''''''03''''''''''''''8''''''''''''''''''F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8F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2419350" y="50466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B2B3532-EED2-4042-87E8-16C6A68574F2}" type="datetime'''''''''''''''''''''''''3''''''2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B21758E7-D0F2-48C5-E4F0-EFB60AF9C267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612900" y="5778500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8602B8A9-6300-CB5E-26CD-71173AD60351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612900" y="60420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BE8D3344-F1E1-6F07-18B9-AD63355C925A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935288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3C8242E9-C1F8-B2A4-8C99-EE4ADD2A9C6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2935288" y="604202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0355510-9277-D5EC-F46D-4277552D7D9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914525" y="5773738"/>
            <a:ext cx="3857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45A0DBAB-1D2F-4773-93B5-B4BDB83A3AF2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914525" y="6037263"/>
            <a:ext cx="919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87FFA17F-8553-7CA7-47BE-130DAD82C99D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3236913" y="5773738"/>
            <a:ext cx="13446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99416581-C487-55CD-51D6-1CF48434715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236912" y="6037263"/>
            <a:ext cx="15621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F352E3D-5F68-CD64-1BD6-F049B1595B5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614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D20E973D-17FC-023B-1E4E-B3194312766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82EDCBCB-C159-C3E5-E97D-A43393FB9A1D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264B5CE8-3F59-5EE3-158A-6838B4B6669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EAA70EF4-BD89-AB51-5C92-E70218118927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tc_columnheader">
            <a:extLst>
              <a:ext uri="{FF2B5EF4-FFF2-40B4-BE49-F238E27FC236}">
                <a16:creationId xmlns:a16="http://schemas.microsoft.com/office/drawing/2014/main" id="{42C62AE9-9773-B1D9-6433-ABE3A9CA1A3C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8" name="tc_columnhead">
              <a:extLst>
                <a:ext uri="{FF2B5EF4-FFF2-40B4-BE49-F238E27FC236}">
                  <a16:creationId xmlns:a16="http://schemas.microsoft.com/office/drawing/2014/main" id="{63E5812B-55E6-CC78-053F-568EC912AF9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9" name="tc_columnheadline">
              <a:extLst>
                <a:ext uri="{FF2B5EF4-FFF2-40B4-BE49-F238E27FC236}">
                  <a16:creationId xmlns:a16="http://schemas.microsoft.com/office/drawing/2014/main" id="{B964E930-6FA1-7E67-38CA-76D18DAE364E}"/>
                </a:ext>
              </a:extLst>
            </p:cNvPr>
            <p:cNvCxnSpPr>
              <a:cxnSpLocks/>
              <a:stCxn id="8" idx="4"/>
              <a:endCxn id="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7503180-2A33-5AAA-F55C-99D905AF1866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A1AB033-C8FE-4C98-A42A-9560383953ED}"/>
              </a:ext>
            </a:extLst>
          </p:cNvPr>
          <p:cNvSpPr txBox="1"/>
          <p:nvPr/>
        </p:nvSpPr>
        <p:spPr>
          <a:xfrm>
            <a:off x="5157627" y="597582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34460669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47363P9xv37Riwgu_s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ioEEodVIr1qI9X6Vp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zduJu.jFUPS3q0q1dF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1.3oy3klQt5l94FGiS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u4ByWfn7XgS.InVdX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BllCiseVWgnP8.Ul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anddYqKj9xOKKXNUm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V1EA_wzN4Uo848eiL2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XMhdWKyX.67908_At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reoIHrJM.x8YRqVS0V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HAaiX4HQ8A_YeEOqX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I26QriUvC5ooIQCR_X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a5reIJCumFVpmRjpBn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jNvj_Ov57APivebJSY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y40fcG2_RvMqVX_mlz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pXYQ2Aby5UO1Rmem9O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Ouz0kcVtkvzo2nxlJb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bOINf1DBGsy5KPZDEK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WPF8DedRpxdeXbBYpf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mvSXYIjgga4Il9yTkt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a.zWRyFpzmJMb2g2ck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jj44Whe01w5G32ucSF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ObruXm57KWkjb_x40M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zK2qf0QKLDDuyBI9h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yBtrm3AqdjjUilw8i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whyNcPy0nfVZrqK7io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WoXvMzHAqb.gDVW8p0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mE1I7Atq7EmG41PAZV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zyTPVuOfMJzUk0yUNU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2_Flgfa.Qt.6uEm.YX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GfIFw1nrcwJXP2z_pDd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5j11jwcZBxEUGVRFi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bC1NP0gNVC.3NQAdt8K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vSiWgftsQWuSGKRX6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b4THabn.CHELmawciJ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UtxEs1ed8pgA3Wti5o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uPjTC2pbEIukKKIHFlG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hZJLsZStfmeg50poF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rBi3MwbMlJXP.X6uHN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p4hEusf.8tVoqh9E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uUfxQeuyA7ccsv1i_r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pNegKkI6fWaPURLIYJ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ZrBh8FRLVnTKA315WsB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65</Words>
  <Application>Microsoft Office PowerPoint</Application>
  <PresentationFormat>宽屏</PresentationFormat>
  <Paragraphs>4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02:32Z</dcterms:created>
  <dcterms:modified xsi:type="dcterms:W3CDTF">2025-09-10T07:03:53Z</dcterms:modified>
</cp:coreProperties>
</file>